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9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oleObject" Target="../embeddings/oleObject3.bin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AAEE8F2-ADEE-D1A9-7E28-CFF0CC14BA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6" progId="TCLayout.ActiveDocument.1">
                  <p:embed/>
                </p:oleObj>
              </mc:Choice>
              <mc:Fallback>
                <p:oleObj name="think-cell Slide" r:id="rId1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AEE8F2-ADEE-D1A9-7E28-CFF0CC14B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1B9BEC-09A6-7D4D-2E49-5B4BFC6C67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B9F7F-266F-D6FD-A632-8689F497D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D326A26-8E56-119B-AD22-A74340591FA6}"/>
              </a:ext>
            </a:extLst>
          </p:cNvPr>
          <p:cNvCxnSpPr>
            <a:cxnSpLocks/>
          </p:cNvCxnSpPr>
          <p:nvPr/>
        </p:nvCxnSpPr>
        <p:spPr>
          <a:xfrm flipV="1">
            <a:off x="975879" y="2673069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183BDD0-4460-D0A0-087A-2A879765E516}"/>
              </a:ext>
            </a:extLst>
          </p:cNvPr>
          <p:cNvCxnSpPr>
            <a:cxnSpLocks/>
          </p:cNvCxnSpPr>
          <p:nvPr/>
        </p:nvCxnSpPr>
        <p:spPr>
          <a:xfrm flipV="1">
            <a:off x="975879" y="3650171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E296B42-9A7F-F97C-036B-7022CA11E6A2}"/>
              </a:ext>
            </a:extLst>
          </p:cNvPr>
          <p:cNvCxnSpPr>
            <a:cxnSpLocks/>
          </p:cNvCxnSpPr>
          <p:nvPr/>
        </p:nvCxnSpPr>
        <p:spPr>
          <a:xfrm flipV="1">
            <a:off x="975879" y="1693943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D9F7FB0-E77A-CC4E-3287-6C42D71D2B1C}"/>
              </a:ext>
            </a:extLst>
          </p:cNvPr>
          <p:cNvCxnSpPr>
            <a:cxnSpLocks/>
          </p:cNvCxnSpPr>
          <p:nvPr/>
        </p:nvCxnSpPr>
        <p:spPr>
          <a:xfrm flipV="1">
            <a:off x="975879" y="4628357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304EEC7-EC24-0538-628B-BB92D388A0C2}"/>
              </a:ext>
            </a:extLst>
          </p:cNvPr>
          <p:cNvCxnSpPr>
            <a:cxnSpLocks/>
          </p:cNvCxnSpPr>
          <p:nvPr/>
        </p:nvCxnSpPr>
        <p:spPr>
          <a:xfrm flipV="1">
            <a:off x="975879" y="5606002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">
            <a:extLst>
              <a:ext uri="{FF2B5EF4-FFF2-40B4-BE49-F238E27FC236}">
                <a16:creationId xmlns:a16="http://schemas.microsoft.com/office/drawing/2014/main" id="{A8F74C0E-C9CD-84DF-F918-B1A3E6E08AD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78822" y="2827251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6" name="Rectangle 3">
            <a:extLst>
              <a:ext uri="{FF2B5EF4-FFF2-40B4-BE49-F238E27FC236}">
                <a16:creationId xmlns:a16="http://schemas.microsoft.com/office/drawing/2014/main" id="{737C2C4C-AFDF-4DE4-C666-DAAB2D9CEFAB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78822" y="2339043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7" name="Rectangle 3">
            <a:extLst>
              <a:ext uri="{FF2B5EF4-FFF2-40B4-BE49-F238E27FC236}">
                <a16:creationId xmlns:a16="http://schemas.microsoft.com/office/drawing/2014/main" id="{075224C2-41EA-B41C-7A35-33B09C7C027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75880" y="3807535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D8DB2F3B-7987-1B2B-EF74-C5DF86E729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75880" y="3318664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223C9A11-1402-F3AC-FF8F-FAECD2F764A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75880" y="1844805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0" name="Rectangle 3">
            <a:extLst>
              <a:ext uri="{FF2B5EF4-FFF2-40B4-BE49-F238E27FC236}">
                <a16:creationId xmlns:a16="http://schemas.microsoft.com/office/drawing/2014/main" id="{52666A90-894A-B170-F2F3-6EF9B892A1FA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975880" y="1368665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id="{BDD8CF99-5285-75C5-8330-E6897833F6A1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978822" y="4773508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398F4E29-1905-ABDA-64A7-1EE5C3F9D8FD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978822" y="4299624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43" name="Rectangle 3">
            <a:extLst>
              <a:ext uri="{FF2B5EF4-FFF2-40B4-BE49-F238E27FC236}">
                <a16:creationId xmlns:a16="http://schemas.microsoft.com/office/drawing/2014/main" id="{98C337DF-E82C-D0C1-AA75-D0B4C82DF31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978822" y="5745301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4" name="Rectangle 3">
            <a:extLst>
              <a:ext uri="{FF2B5EF4-FFF2-40B4-BE49-F238E27FC236}">
                <a16:creationId xmlns:a16="http://schemas.microsoft.com/office/drawing/2014/main" id="{8084B985-A21F-B5A9-62DE-D1AA1250A968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978822" y="5273287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6746F94-151A-4882-C0F1-BDE25295DC02}"/>
              </a:ext>
            </a:extLst>
          </p:cNvPr>
          <p:cNvSpPr/>
          <p:nvPr/>
        </p:nvSpPr>
        <p:spPr>
          <a:xfrm rot="16200000">
            <a:off x="217049" y="3660454"/>
            <a:ext cx="979992" cy="182646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F1176E4-5250-5DDE-656A-7144A50FBBE9}"/>
              </a:ext>
            </a:extLst>
          </p:cNvPr>
          <p:cNvSpPr/>
          <p:nvPr/>
        </p:nvSpPr>
        <p:spPr>
          <a:xfrm rot="16200000">
            <a:off x="217049" y="2678923"/>
            <a:ext cx="979992" cy="182646"/>
          </a:xfrm>
          <a:prstGeom prst="rect">
            <a:avLst/>
          </a:prstGeom>
          <a:solidFill>
            <a:schemeClr val="accent2"/>
          </a:solidFill>
          <a:ln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7C653A6F-AFE8-93C0-0B4E-989830E8EA1F}"/>
              </a:ext>
            </a:extLst>
          </p:cNvPr>
          <p:cNvSpPr/>
          <p:nvPr/>
        </p:nvSpPr>
        <p:spPr>
          <a:xfrm>
            <a:off x="550862" y="2614061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4EABBEBC-C952-1A8E-0F45-34D4503229E6}"/>
              </a:ext>
            </a:extLst>
          </p:cNvPr>
          <p:cNvSpPr/>
          <p:nvPr/>
        </p:nvSpPr>
        <p:spPr>
          <a:xfrm rot="16200000">
            <a:off x="217049" y="1704226"/>
            <a:ext cx="979992" cy="182646"/>
          </a:xfrm>
          <a:custGeom>
            <a:avLst/>
            <a:gdLst>
              <a:gd name="connsiteX0" fmla="*/ 0 w 5969418"/>
              <a:gd name="connsiteY0" fmla="*/ 0 h 852940"/>
              <a:gd name="connsiteX1" fmla="*/ 5542948 w 5969418"/>
              <a:gd name="connsiteY1" fmla="*/ 0 h 852940"/>
              <a:gd name="connsiteX2" fmla="*/ 5969418 w 5969418"/>
              <a:gd name="connsiteY2" fmla="*/ 426470 h 852940"/>
              <a:gd name="connsiteX3" fmla="*/ 5969417 w 5969418"/>
              <a:gd name="connsiteY3" fmla="*/ 426470 h 852940"/>
              <a:gd name="connsiteX4" fmla="*/ 5542947 w 5969418"/>
              <a:gd name="connsiteY4" fmla="*/ 852940 h 852940"/>
              <a:gd name="connsiteX5" fmla="*/ 0 w 5969418"/>
              <a:gd name="connsiteY5" fmla="*/ 852939 h 852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69418" h="852940">
                <a:moveTo>
                  <a:pt x="0" y="0"/>
                </a:moveTo>
                <a:lnTo>
                  <a:pt x="5542948" y="0"/>
                </a:lnTo>
                <a:cubicBezTo>
                  <a:pt x="5778481" y="0"/>
                  <a:pt x="5969418" y="190937"/>
                  <a:pt x="5969418" y="426470"/>
                </a:cubicBezTo>
                <a:lnTo>
                  <a:pt x="5969417" y="426470"/>
                </a:lnTo>
                <a:cubicBezTo>
                  <a:pt x="5969417" y="662003"/>
                  <a:pt x="5778480" y="852940"/>
                  <a:pt x="5542947" y="852940"/>
                </a:cubicBezTo>
                <a:lnTo>
                  <a:pt x="0" y="852939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E856D89-C48B-D2CA-2B5D-878DB381D181}"/>
              </a:ext>
            </a:extLst>
          </p:cNvPr>
          <p:cNvSpPr/>
          <p:nvPr/>
        </p:nvSpPr>
        <p:spPr>
          <a:xfrm>
            <a:off x="550862" y="3591163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A96D840-3777-B2FA-48F2-7F3D8DE28C63}"/>
              </a:ext>
            </a:extLst>
          </p:cNvPr>
          <p:cNvSpPr/>
          <p:nvPr/>
        </p:nvSpPr>
        <p:spPr>
          <a:xfrm>
            <a:off x="550862" y="1634935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97ABE15-8405-525C-F0AF-D7F2CE8F94B5}"/>
              </a:ext>
            </a:extLst>
          </p:cNvPr>
          <p:cNvSpPr/>
          <p:nvPr/>
        </p:nvSpPr>
        <p:spPr>
          <a:xfrm rot="16200000">
            <a:off x="217049" y="4634211"/>
            <a:ext cx="979992" cy="182646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ADD778D6-D641-1FA6-4D54-266BAD8131EE}"/>
              </a:ext>
            </a:extLst>
          </p:cNvPr>
          <p:cNvSpPr/>
          <p:nvPr/>
        </p:nvSpPr>
        <p:spPr>
          <a:xfrm>
            <a:off x="550862" y="4569349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C9CE3C73-D13E-6057-9BED-67A88363541E}"/>
              </a:ext>
            </a:extLst>
          </p:cNvPr>
          <p:cNvSpPr/>
          <p:nvPr/>
        </p:nvSpPr>
        <p:spPr>
          <a:xfrm rot="5400000" flipV="1">
            <a:off x="217049" y="5611857"/>
            <a:ext cx="979992" cy="182646"/>
          </a:xfrm>
          <a:custGeom>
            <a:avLst/>
            <a:gdLst>
              <a:gd name="connsiteX0" fmla="*/ 0 w 5969418"/>
              <a:gd name="connsiteY0" fmla="*/ 0 h 852940"/>
              <a:gd name="connsiteX1" fmla="*/ 5542948 w 5969418"/>
              <a:gd name="connsiteY1" fmla="*/ 0 h 852940"/>
              <a:gd name="connsiteX2" fmla="*/ 5969418 w 5969418"/>
              <a:gd name="connsiteY2" fmla="*/ 426470 h 852940"/>
              <a:gd name="connsiteX3" fmla="*/ 5969417 w 5969418"/>
              <a:gd name="connsiteY3" fmla="*/ 426470 h 852940"/>
              <a:gd name="connsiteX4" fmla="*/ 5542947 w 5969418"/>
              <a:gd name="connsiteY4" fmla="*/ 852940 h 852940"/>
              <a:gd name="connsiteX5" fmla="*/ 0 w 5969418"/>
              <a:gd name="connsiteY5" fmla="*/ 852939 h 852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69418" h="852940">
                <a:moveTo>
                  <a:pt x="0" y="0"/>
                </a:moveTo>
                <a:lnTo>
                  <a:pt x="5542948" y="0"/>
                </a:lnTo>
                <a:cubicBezTo>
                  <a:pt x="5778481" y="0"/>
                  <a:pt x="5969418" y="190937"/>
                  <a:pt x="5969418" y="426470"/>
                </a:cubicBezTo>
                <a:lnTo>
                  <a:pt x="5969417" y="426470"/>
                </a:lnTo>
                <a:cubicBezTo>
                  <a:pt x="5969417" y="662003"/>
                  <a:pt x="5778480" y="852940"/>
                  <a:pt x="5542947" y="852940"/>
                </a:cubicBezTo>
                <a:lnTo>
                  <a:pt x="0" y="852939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568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79E4FD73-E35C-2771-4B39-A6343CEF5300}"/>
              </a:ext>
            </a:extLst>
          </p:cNvPr>
          <p:cNvSpPr/>
          <p:nvPr/>
        </p:nvSpPr>
        <p:spPr>
          <a:xfrm>
            <a:off x="550862" y="5546994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54946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0</TotalTime>
  <Words>27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64</cp:revision>
  <dcterms:created xsi:type="dcterms:W3CDTF">2021-03-31T02:49:57Z</dcterms:created>
  <dcterms:modified xsi:type="dcterms:W3CDTF">2025-10-15T02:39:32Z</dcterms:modified>
  <cp:category/>
</cp:coreProperties>
</file>